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7"/>
  </p:sldMasterIdLst>
  <p:notesMasterIdLst>
    <p:notesMasterId r:id="rId13"/>
  </p:notesMasterIdLst>
  <p:handoutMasterIdLst>
    <p:handoutMasterId r:id="rId14"/>
  </p:handoutMasterIdLst>
  <p:sldIdLst>
    <p:sldId id="259" r:id="rId8"/>
    <p:sldId id="260" r:id="rId9"/>
    <p:sldId id="261" r:id="rId10"/>
    <p:sldId id="262" r:id="rId11"/>
    <p:sldId id="263" r:id="rId12"/>
  </p:sldIdLst>
  <p:sldSz cx="12192000" cy="6858000"/>
  <p:notesSz cx="6669088" cy="9926638"/>
  <p:custDataLst>
    <p:tags r:id="rId15"/>
  </p:custDataLst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5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513"/>
    <a:srgbClr val="00AE6D"/>
    <a:srgbClr val="E40613"/>
    <a:srgbClr val="9AD5B7"/>
    <a:srgbClr val="8FB0D0"/>
    <a:srgbClr val="00E86D"/>
    <a:srgbClr val="E20613"/>
    <a:srgbClr val="CC0000"/>
    <a:srgbClr val="00EA6A"/>
    <a:srgbClr val="00FA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39" autoAdjust="0"/>
    <p:restoredTop sz="84953" autoAdjust="0"/>
  </p:normalViewPr>
  <p:slideViewPr>
    <p:cSldViewPr snapToGrid="0" showGuides="1">
      <p:cViewPr varScale="1">
        <p:scale>
          <a:sx n="159" d="100"/>
          <a:sy n="159" d="100"/>
        </p:scale>
        <p:origin x="576" y="138"/>
      </p:cViewPr>
      <p:guideLst>
        <p:guide orient="horz" pos="2273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46" d="100"/>
          <a:sy n="146" d="100"/>
        </p:scale>
        <p:origin x="5968" y="192"/>
      </p:cViewPr>
      <p:guideLst>
        <p:guide orient="horz" pos="3125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t" anchorCtr="0" compatLnSpc="1">
            <a:prstTxWarp prst="textNoShape">
              <a:avLst/>
            </a:prstTxWarp>
          </a:bodyPr>
          <a:lstStyle>
            <a:lvl1pPr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t" anchorCtr="0" compatLnSpc="1">
            <a:prstTxWarp prst="textNoShape">
              <a:avLst/>
            </a:prstTxWarp>
          </a:bodyPr>
          <a:lstStyle>
            <a:lvl1pPr algn="r"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b" anchorCtr="0" compatLnSpc="1">
            <a:prstTxWarp prst="textNoShape">
              <a:avLst/>
            </a:prstTxWarp>
          </a:bodyPr>
          <a:lstStyle>
            <a:lvl1pPr defTabSz="918949" eaLnBrk="1" hangingPunct="1">
              <a:spcBef>
                <a:spcPct val="0"/>
              </a:spcBef>
              <a:defRPr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750"/>
            <a:ext cx="2890838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829" tIns="45914" rIns="91829" bIns="45914" numCol="1" anchor="b" anchorCtr="0" compatLnSpc="1">
            <a:prstTxWarp prst="textNoShape">
              <a:avLst/>
            </a:prstTxWarp>
          </a:bodyPr>
          <a:lstStyle>
            <a:lvl1pPr algn="r" defTabSz="918949" eaLnBrk="1" hangingPunct="1">
              <a:spcBef>
                <a:spcPct val="0"/>
              </a:spcBef>
              <a:defRPr/>
            </a:lvl1pPr>
          </a:lstStyle>
          <a:p>
            <a:pPr>
              <a:defRPr/>
            </a:pPr>
            <a:fld id="{ADFF3A69-C35A-408A-BDFC-5D3C1A62501C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399159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1" name="Rectangle 5"/>
          <p:cNvSpPr>
            <a:spLocks noGrp="1" noChangeAspect="1" noChangeArrowheads="1"/>
          </p:cNvSpPr>
          <p:nvPr>
            <p:ph type="body" sz="quarter" idx="3"/>
          </p:nvPr>
        </p:nvSpPr>
        <p:spPr bwMode="auto">
          <a:xfrm>
            <a:off x="704850" y="106363"/>
            <a:ext cx="5738813" cy="968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Klicken Sie, um die Formate des Vorlagentextes zu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9155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63538" y="7912100"/>
            <a:ext cx="3338512" cy="1878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</p:spTree>
    <p:extLst>
      <p:ext uri="{BB962C8B-B14F-4D97-AF65-F5344CB8AC3E}">
        <p14:creationId xmlns:p14="http://schemas.microsoft.com/office/powerpoint/2010/main" val="34061215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ts val="14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ubheading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1771"/>
            <a:ext cx="12192000" cy="596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>
            <a:spLocks noChangeArrowheads="1"/>
          </p:cNvSpPr>
          <p:nvPr userDrawn="1"/>
        </p:nvSpPr>
        <p:spPr bwMode="auto">
          <a:xfrm>
            <a:off x="0" y="5315416"/>
            <a:ext cx="12191999" cy="13490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 dirty="0"/>
          </a:p>
        </p:txBody>
      </p:sp>
      <p:sp>
        <p:nvSpPr>
          <p:cNvPr id="24" name="Rectangle"/>
          <p:cNvSpPr>
            <a:spLocks noGrp="1" noChangeArrowheads="1"/>
          </p:cNvSpPr>
          <p:nvPr>
            <p:ph type="ctrTitle"/>
          </p:nvPr>
        </p:nvSpPr>
        <p:spPr>
          <a:xfrm>
            <a:off x="584632" y="5675885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5303" y="6163451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30" name="Gerade Verbindung 25">
            <a:extLst>
              <a:ext uri="{FF2B5EF4-FFF2-40B4-BE49-F238E27FC236}">
                <a16:creationId xmlns:a16="http://schemas.microsoft.com/office/drawing/2014/main" id="{97EDF13B-217F-2D4E-8474-D58420E9416D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6740" y="5315416"/>
            <a:ext cx="12198740" cy="0"/>
          </a:xfrm>
          <a:prstGeom prst="line">
            <a:avLst/>
          </a:prstGeom>
          <a:ln w="57150">
            <a:solidFill>
              <a:srgbClr val="E406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>
            <a:extLst>
              <a:ext uri="{FF2B5EF4-FFF2-40B4-BE49-F238E27FC236}">
                <a16:creationId xmlns:a16="http://schemas.microsoft.com/office/drawing/2014/main" id="{A86729A2-6DA9-B441-AF88-CB5B4C8FDAEF}"/>
              </a:ext>
            </a:extLst>
          </p:cNvPr>
          <p:cNvSpPr/>
          <p:nvPr userDrawn="1"/>
        </p:nvSpPr>
        <p:spPr bwMode="auto">
          <a:xfrm>
            <a:off x="10058401" y="551517"/>
            <a:ext cx="2140340" cy="910749"/>
          </a:xfrm>
          <a:prstGeom prst="rect">
            <a:avLst/>
          </a:prstGeom>
          <a:solidFill>
            <a:schemeClr val="bg1">
              <a:alpha val="8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2" name="Grafik 31" descr="Ein Bild, das Uhr, Zeichnung enthält.&#10;&#10;Automatisch generierte Beschreibung">
            <a:extLst>
              <a:ext uri="{FF2B5EF4-FFF2-40B4-BE49-F238E27FC236}">
                <a16:creationId xmlns:a16="http://schemas.microsoft.com/office/drawing/2014/main" id="{0B81D3FA-0F3F-B846-BD3D-9FF1BF7F7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344" b="-2058"/>
          <a:stretch/>
        </p:blipFill>
        <p:spPr>
          <a:xfrm>
            <a:off x="10292603" y="700600"/>
            <a:ext cx="1511466" cy="627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841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8FD0B8-B0DA-E344-970A-1B048881B0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0" y="1663047"/>
            <a:ext cx="11049284" cy="4364038"/>
          </a:xfrm>
        </p:spPr>
        <p:txBody>
          <a:bodyPr/>
          <a:lstStyle>
            <a:lvl1pPr marL="7938" marR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/>
              <a:t>Fliesstext Fliesstext Fliesstext</a:t>
            </a:r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027" y="951848"/>
            <a:ext cx="10322852" cy="230407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72528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8FD0B8-B0DA-E344-970A-1B048881B02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0" y="1663047"/>
            <a:ext cx="11049284" cy="4364038"/>
          </a:xfrm>
        </p:spPr>
        <p:txBody>
          <a:bodyPr/>
          <a:lstStyle>
            <a:lvl1pPr marL="293688" marR="0" indent="-28575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4027" y="951848"/>
            <a:ext cx="10322852" cy="230407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699597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lis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D2988F1-BAC8-AF4C-B976-B945D80BA13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20589" y="1663549"/>
            <a:ext cx="5286927" cy="4364038"/>
          </a:xfrm>
        </p:spPr>
        <p:txBody>
          <a:bodyPr/>
          <a:lstStyle>
            <a:lvl1pPr marL="293688" marR="0" indent="-28575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r>
              <a:rPr lang="de-CH" altLang="de-DE" dirty="0" err="1"/>
              <a:t>Bulletpoints</a:t>
            </a:r>
            <a:endParaRPr lang="de-CH" altLang="de-DE" dirty="0"/>
          </a:p>
          <a:p>
            <a:pPr lvl="0"/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C5EB5DC-1DA6-164B-96EF-5DB57E7C081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3720" y="1663047"/>
            <a:ext cx="5286927" cy="4364038"/>
          </a:xfrm>
        </p:spPr>
        <p:txBody>
          <a:bodyPr/>
          <a:lstStyle>
            <a:lvl1pPr marL="7938" marR="0" indent="0" algn="l" defTabSz="914423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lang="de-DE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30245" indent="-285750" algn="l" defTabSz="873147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lang="de-DE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12838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471613" indent="-396875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lang="de-DE" sz="18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1900285" indent="-457212" algn="l" defTabSz="873147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de-CH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CH" altLang="de-DE" dirty="0"/>
              <a:t>Fliesstext</a:t>
            </a:r>
          </a:p>
          <a:p>
            <a:pPr lvl="0"/>
            <a:endParaRPr lang="de-CH" altLang="de-DE" dirty="0"/>
          </a:p>
          <a:p>
            <a:pPr lvl="0"/>
            <a:endParaRPr lang="de-CH" altLang="de-DE" dirty="0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3AFC9668-1FA3-544C-B369-D1703DEBF56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99A16CCB-F72E-F24D-BD15-C1001C77CB20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82873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4D72DF9D-34A3-3248-B6BE-A83BAF726E9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B33AEFA1-503F-0A47-9942-5624ED859FC5}"/>
              </a:ext>
            </a:extLst>
          </p:cNvPr>
          <p:cNvSpPr>
            <a:spLocks noGrp="1" noChangeArrowheads="1"/>
          </p:cNvSpPr>
          <p:nvPr>
            <p:ph type="subTitle" idx="12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059741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16">
            <a:extLst>
              <a:ext uri="{FF2B5EF4-FFF2-40B4-BE49-F238E27FC236}">
                <a16:creationId xmlns:a16="http://schemas.microsoft.com/office/drawing/2014/main" id="{CB1CE1F6-7D85-704A-BC02-5DD7CF2643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6740" y="1473151"/>
            <a:ext cx="12192000" cy="538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9" name="Gerade Verbindung 25">
            <a:extLst>
              <a:ext uri="{FF2B5EF4-FFF2-40B4-BE49-F238E27FC236}">
                <a16:creationId xmlns:a16="http://schemas.microsoft.com/office/drawing/2014/main" id="{80BE22B7-75FD-2B4E-8058-A17E50E875A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28877" y="1680651"/>
            <a:ext cx="12214137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6237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4">
            <a:extLst>
              <a:ext uri="{FF2B5EF4-FFF2-40B4-BE49-F238E27FC236}">
                <a16:creationId xmlns:a16="http://schemas.microsoft.com/office/drawing/2014/main" id="{00E8DACC-D9FB-9B42-84B0-CBA4CAA862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6165" y="1683776"/>
            <a:ext cx="12211050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9" name="Gerade Verbindung 25">
            <a:extLst>
              <a:ext uri="{FF2B5EF4-FFF2-40B4-BE49-F238E27FC236}">
                <a16:creationId xmlns:a16="http://schemas.microsoft.com/office/drawing/2014/main" id="{80BE22B7-75FD-2B4E-8058-A17E50E875A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28877" y="1680651"/>
            <a:ext cx="12214137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6650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4">
            <a:extLst>
              <a:ext uri="{FF2B5EF4-FFF2-40B4-BE49-F238E27FC236}">
                <a16:creationId xmlns:a16="http://schemas.microsoft.com/office/drawing/2014/main" id="{307B3726-4B10-0B4E-ABF8-F5BD8B6EB8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40" y="1436687"/>
            <a:ext cx="12195175" cy="542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3" name="Rechteck 12"/>
          <p:cNvSpPr/>
          <p:nvPr userDrawn="1"/>
        </p:nvSpPr>
        <p:spPr>
          <a:xfrm>
            <a:off x="0" y="212554"/>
            <a:ext cx="12192000" cy="1224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150DC89-6F86-9840-B31B-975E362EAC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740" y="0"/>
            <a:ext cx="12192000" cy="165150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30000"/>
              </a:spcBef>
              <a:defRPr/>
            </a:pPr>
            <a:endParaRPr lang="de-DE" altLang="de-DE"/>
          </a:p>
        </p:txBody>
      </p:sp>
      <p:sp>
        <p:nvSpPr>
          <p:cNvPr id="26" name="Rectangle">
            <a:extLst>
              <a:ext uri="{FF2B5EF4-FFF2-40B4-BE49-F238E27FC236}">
                <a16:creationId xmlns:a16="http://schemas.microsoft.com/office/drawing/2014/main" id="{CC4D1B95-F548-D64B-8BD9-1506EE2EB583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84632" y="459643"/>
            <a:ext cx="10322853" cy="409798"/>
          </a:xfrm>
        </p:spPr>
        <p:txBody>
          <a:bodyPr/>
          <a:lstStyle>
            <a:lvl1pPr>
              <a:defRPr lang="de-CH" sz="3400" b="1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402B6FBF-277A-2042-BC10-4A4D18C279F8}"/>
              </a:ext>
            </a:extLst>
          </p:cNvPr>
          <p:cNvSpPr>
            <a:spLocks noGrp="1" noChangeArrowheads="1"/>
          </p:cNvSpPr>
          <p:nvPr>
            <p:ph type="subTitle" idx="10"/>
          </p:nvPr>
        </p:nvSpPr>
        <p:spPr>
          <a:xfrm>
            <a:off x="605303" y="951848"/>
            <a:ext cx="10312339" cy="21999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/>
              <a:t>Master-Untertitelformat bearbeiten</a:t>
            </a:r>
            <a:endParaRPr lang="de-CH" noProof="0" dirty="0"/>
          </a:p>
        </p:txBody>
      </p:sp>
      <p:cxnSp>
        <p:nvCxnSpPr>
          <p:cNvPr id="29" name="Gerade Verbindung 25">
            <a:extLst>
              <a:ext uri="{FF2B5EF4-FFF2-40B4-BE49-F238E27FC236}">
                <a16:creationId xmlns:a16="http://schemas.microsoft.com/office/drawing/2014/main" id="{80BE22B7-75FD-2B4E-8058-A17E50E875A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28877" y="1680651"/>
            <a:ext cx="12214137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0545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ubheading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6" name="Line 39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7" name="Line 40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8" name="Line 41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9" name="Line 42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" name="Line 43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1" name="Line 44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2" name="Line 45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</p:spTree>
    <p:extLst>
      <p:ext uri="{BB962C8B-B14F-4D97-AF65-F5344CB8AC3E}">
        <p14:creationId xmlns:p14="http://schemas.microsoft.com/office/powerpoint/2010/main" val="4202469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7850" y="1652052"/>
            <a:ext cx="11056938" cy="436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Mastertextformat bearbeiten</a:t>
            </a:r>
          </a:p>
          <a:p>
            <a:pPr lvl="1"/>
            <a:endParaRPr lang="de-CH" altLang="de-DE" dirty="0"/>
          </a:p>
          <a:p>
            <a:pPr lvl="1"/>
            <a:endParaRPr lang="de-CH" altLang="de-DE" dirty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7850" y="458561"/>
            <a:ext cx="11028363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Mastertitelformat bearbeiten</a:t>
            </a:r>
          </a:p>
        </p:txBody>
      </p:sp>
      <p:grpSp>
        <p:nvGrpSpPr>
          <p:cNvPr id="1029" name="shpGrid" hidden="1"/>
          <p:cNvGrpSpPr>
            <a:grpSpLocks/>
          </p:cNvGrpSpPr>
          <p:nvPr/>
        </p:nvGrpSpPr>
        <p:grpSpPr bwMode="auto">
          <a:xfrm>
            <a:off x="-23813" y="0"/>
            <a:ext cx="12215813" cy="6858000"/>
            <a:chOff x="-12" y="0"/>
            <a:chExt cx="6252" cy="4320"/>
          </a:xfrm>
        </p:grpSpPr>
        <p:sp>
          <p:nvSpPr>
            <p:cNvPr id="1032" name="Line 25" hidden="1"/>
            <p:cNvSpPr>
              <a:spLocks noChangeShapeType="1"/>
            </p:cNvSpPr>
            <p:nvPr/>
          </p:nvSpPr>
          <p:spPr bwMode="auto">
            <a:xfrm>
              <a:off x="273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3" name="Line 26" hidden="1"/>
            <p:cNvSpPr>
              <a:spLocks noChangeShapeType="1"/>
            </p:cNvSpPr>
            <p:nvPr/>
          </p:nvSpPr>
          <p:spPr bwMode="auto">
            <a:xfrm>
              <a:off x="5966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4" name="Line 20" hidden="1"/>
            <p:cNvSpPr>
              <a:spLocks noChangeShapeType="1"/>
            </p:cNvSpPr>
            <p:nvPr/>
          </p:nvSpPr>
          <p:spPr bwMode="auto">
            <a:xfrm>
              <a:off x="0" y="215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5" name="Line 23" hidden="1"/>
            <p:cNvSpPr>
              <a:spLocks noChangeShapeType="1"/>
            </p:cNvSpPr>
            <p:nvPr/>
          </p:nvSpPr>
          <p:spPr bwMode="auto">
            <a:xfrm>
              <a:off x="-12" y="1132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6" name="Line 27" hidden="1"/>
            <p:cNvSpPr>
              <a:spLocks noChangeShapeType="1"/>
            </p:cNvSpPr>
            <p:nvPr/>
          </p:nvSpPr>
          <p:spPr bwMode="auto">
            <a:xfrm>
              <a:off x="3119" y="0"/>
              <a:ext cx="0" cy="432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7" name="Line 28" hidden="1"/>
            <p:cNvSpPr>
              <a:spLocks noChangeShapeType="1"/>
            </p:cNvSpPr>
            <p:nvPr/>
          </p:nvSpPr>
          <p:spPr bwMode="auto">
            <a:xfrm>
              <a:off x="0" y="289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  <p:sp>
          <p:nvSpPr>
            <p:cNvPr id="1038" name="Line 38" hidden="1"/>
            <p:cNvSpPr>
              <a:spLocks noChangeShapeType="1"/>
            </p:cNvSpPr>
            <p:nvPr/>
          </p:nvSpPr>
          <p:spPr bwMode="auto">
            <a:xfrm>
              <a:off x="0" y="3854"/>
              <a:ext cx="624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de-CH"/>
            </a:p>
          </p:txBody>
        </p:sp>
      </p:grpSp>
      <p:sp>
        <p:nvSpPr>
          <p:cNvPr id="19" name="Rectangle 2"/>
          <p:cNvSpPr>
            <a:spLocks noChangeArrowheads="1"/>
          </p:cNvSpPr>
          <p:nvPr userDrawn="1"/>
        </p:nvSpPr>
        <p:spPr bwMode="auto">
          <a:xfrm>
            <a:off x="5973626" y="6311639"/>
            <a:ext cx="339725" cy="296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30000"/>
              </a:spcBef>
              <a:defRPr/>
            </a:pPr>
            <a:fld id="{427F29B5-77C0-4C6E-A646-C78C038AB6E7}" type="slidenum">
              <a:rPr lang="de-CH" altLang="de-DE" sz="1200" b="1" smtClean="0">
                <a:latin typeface="+mj-lt"/>
              </a:rPr>
              <a:pPr algn="ctr" eaLnBrk="1" hangingPunct="1">
                <a:spcBef>
                  <a:spcPct val="30000"/>
                </a:spcBef>
                <a:defRPr/>
              </a:pPr>
              <a:t>‹Nr.›</a:t>
            </a:fld>
            <a:endParaRPr lang="de-CH" altLang="de-DE" sz="1200" b="1" dirty="0">
              <a:latin typeface="+mj-lt"/>
            </a:endParaRPr>
          </a:p>
        </p:txBody>
      </p:sp>
      <p:cxnSp>
        <p:nvCxnSpPr>
          <p:cNvPr id="24" name="Gerade Verbindung 25">
            <a:extLst>
              <a:ext uri="{FF2B5EF4-FFF2-40B4-BE49-F238E27FC236}">
                <a16:creationId xmlns:a16="http://schemas.microsoft.com/office/drawing/2014/main" id="{5C2CEFE7-5170-9242-9857-21FF24138027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584634" y="6244349"/>
            <a:ext cx="11050154" cy="0"/>
          </a:xfrm>
          <a:prstGeom prst="line">
            <a:avLst/>
          </a:prstGeom>
          <a:ln w="57150">
            <a:solidFill>
              <a:srgbClr val="E405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0AD3816-638D-E040-9845-6152C8F69D1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9885" y="6349739"/>
            <a:ext cx="224903" cy="228683"/>
          </a:xfrm>
          <a:prstGeom prst="rect">
            <a:avLst/>
          </a:prstGeom>
        </p:spPr>
      </p:pic>
      <p:sp>
        <p:nvSpPr>
          <p:cNvPr id="15" name="Rectangle 2">
            <a:extLst>
              <a:ext uri="{FF2B5EF4-FFF2-40B4-BE49-F238E27FC236}">
                <a16:creationId xmlns:a16="http://schemas.microsoft.com/office/drawing/2014/main" id="{E31F6339-89EF-0E46-9106-C940DF96A03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5144" y="6381800"/>
            <a:ext cx="5282956" cy="192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87312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12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914423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1371634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1828846" algn="l" defTabSz="87314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CH" altLang="de-DE" sz="1200" kern="0" dirty="0"/>
              <a:t>Unternehmenstitel | Referent (Optional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331" r:id="rId1"/>
    <p:sldLayoutId id="2147489261" r:id="rId2"/>
    <p:sldLayoutId id="2147489332" r:id="rId3"/>
    <p:sldLayoutId id="2147489328" r:id="rId4"/>
    <p:sldLayoutId id="2147489262" r:id="rId5"/>
    <p:sldLayoutId id="2147489317" r:id="rId6"/>
    <p:sldLayoutId id="2147489329" r:id="rId7"/>
    <p:sldLayoutId id="2147489330" r:id="rId8"/>
    <p:sldLayoutId id="2147489316" r:id="rId9"/>
  </p:sldLayoutIdLst>
  <p:hf hdr="0" ftr="0" dt="0"/>
  <p:txStyles>
    <p:titleStyle>
      <a:lvl1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2pPr>
      <a:lvl3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3pPr>
      <a:lvl4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4pPr>
      <a:lvl5pPr algn="l" defTabSz="8731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anose="020B0604020202020204" pitchFamily="34" charset="0"/>
        </a:defRPr>
      </a:lvl5pPr>
      <a:lvl6pPr marL="457212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23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34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46" algn="l" defTabSz="87314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12738" indent="-312738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  <a:ea typeface="+mn-ea"/>
          <a:cs typeface="+mn-cs"/>
        </a:defRPr>
      </a:lvl1pPr>
      <a:lvl2pPr marL="671513" indent="-327025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</a:defRPr>
      </a:lvl2pPr>
      <a:lvl3pPr marL="1030288" indent="-314325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</a:defRPr>
      </a:lvl3pPr>
      <a:lvl4pPr marL="1379538" indent="-304800" algn="l" defTabSz="873125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+mj-lt"/>
        </a:defRPr>
      </a:lvl4pPr>
      <a:lvl5pPr marL="1797050" indent="-354013" algn="l" defTabSz="873125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+mj-lt"/>
        </a:defRPr>
      </a:lvl5pPr>
      <a:lvl6pPr marL="2254306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6pPr>
      <a:lvl7pPr marL="2711518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7pPr>
      <a:lvl8pPr marL="3168729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8pPr>
      <a:lvl9pPr marL="3625941" indent="-354022" algn="l" defTabSz="873147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EDCD57-012D-2B42-AAD8-9D8362B4CF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Idealer Änderungsprozes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904CBD5-128D-4D4B-9DE3-FC55853DFB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5303" y="6163451"/>
            <a:ext cx="11197676" cy="219995"/>
          </a:xfrm>
        </p:spPr>
        <p:txBody>
          <a:bodyPr/>
          <a:lstStyle/>
          <a:p>
            <a:r>
              <a:rPr lang="de-DE" dirty="0"/>
              <a:t>Modul 150							   </a:t>
            </a:r>
            <a:r>
              <a:rPr lang="de-DE" dirty="0" err="1"/>
              <a:t>Sashauna</a:t>
            </a:r>
            <a:r>
              <a:rPr lang="de-DE" dirty="0"/>
              <a:t> </a:t>
            </a:r>
            <a:r>
              <a:rPr lang="de-DE" dirty="0" err="1"/>
              <a:t>Wray</a:t>
            </a:r>
            <a:r>
              <a:rPr lang="de-DE" dirty="0"/>
              <a:t> und Valentin Ehinger</a:t>
            </a:r>
          </a:p>
        </p:txBody>
      </p:sp>
    </p:spTree>
    <p:extLst>
      <p:ext uri="{BB962C8B-B14F-4D97-AF65-F5344CB8AC3E}">
        <p14:creationId xmlns:p14="http://schemas.microsoft.com/office/powerpoint/2010/main" val="3289730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F9B89F7-BD46-4841-9730-F19C986D9C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ktueller Änderungsprozes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AC0BC0E-64AC-8562-AE56-34A7399F00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771" y="981075"/>
            <a:ext cx="7000457" cy="5180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049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A9B5C6FC-130E-C6B3-08C7-BFAE1BF35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5771" y="981075"/>
            <a:ext cx="7000457" cy="5180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3DB55A1-2590-664B-8EAD-C729BCCD54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erbesserung des Prozesses</a:t>
            </a:r>
          </a:p>
        </p:txBody>
      </p:sp>
      <p:sp>
        <p:nvSpPr>
          <p:cNvPr id="5" name="Pfeil: nach links 4">
            <a:extLst>
              <a:ext uri="{FF2B5EF4-FFF2-40B4-BE49-F238E27FC236}">
                <a16:creationId xmlns:a16="http://schemas.microsoft.com/office/drawing/2014/main" id="{E39FAB10-35CE-4D9E-2B71-5DE5AE52E23A}"/>
              </a:ext>
            </a:extLst>
          </p:cNvPr>
          <p:cNvSpPr/>
          <p:nvPr/>
        </p:nvSpPr>
        <p:spPr>
          <a:xfrm rot="19505610">
            <a:off x="4317305" y="2197585"/>
            <a:ext cx="1219200" cy="64770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nsatzpunkt</a:t>
            </a:r>
            <a:endParaRPr lang="de-CH" sz="12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52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DE505B-80EB-4E42-9135-EA840592C84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nsatzpunkt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Owner</a:t>
            </a:r>
            <a:r>
              <a:rPr lang="de-DE" dirty="0"/>
              <a:t> (PO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BA22CAD-296D-7846-B365-583BD219BA8B}"/>
              </a:ext>
            </a:extLst>
          </p:cNvPr>
          <p:cNvSpPr txBox="1"/>
          <p:nvPr/>
        </p:nvSpPr>
        <p:spPr>
          <a:xfrm>
            <a:off x="2632657" y="1462739"/>
            <a:ext cx="692668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r PO ist in direktem Kontakt mit dem Business und dem Entwicklungsteam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r PO besitzt eine gute Übersicht der Projekte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r PO weiss, wie sein Team funktioniert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04CA46-5A25-D06A-9174-EA0752265EE5}"/>
              </a:ext>
            </a:extLst>
          </p:cNvPr>
          <p:cNvSpPr txBox="1"/>
          <p:nvPr/>
        </p:nvSpPr>
        <p:spPr>
          <a:xfrm>
            <a:off x="584632" y="3047636"/>
            <a:ext cx="2195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b="1" dirty="0"/>
              <a:t>Kompetenz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E129CB0-9797-8FF8-DCD3-47ADB43E68C8}"/>
              </a:ext>
            </a:extLst>
          </p:cNvPr>
          <p:cNvSpPr txBox="1"/>
          <p:nvPr/>
        </p:nvSpPr>
        <p:spPr>
          <a:xfrm>
            <a:off x="6095998" y="3047636"/>
            <a:ext cx="2195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b="1" dirty="0"/>
              <a:t>Kompetenzen neu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2810DEC-5C6A-4CD0-3F92-7108AFDF6052}"/>
              </a:ext>
            </a:extLst>
          </p:cNvPr>
          <p:cNvSpPr txBox="1"/>
          <p:nvPr/>
        </p:nvSpPr>
        <p:spPr>
          <a:xfrm>
            <a:off x="584631" y="3441032"/>
            <a:ext cx="553853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FC aufgrund fehlender Kapazität in der Iteration verschieben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FC aufgrund von Kritik des Teams an Business zurückgeben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1FB70D-D3BB-8058-50D4-A7D2E0A74FD2}"/>
              </a:ext>
            </a:extLst>
          </p:cNvPr>
          <p:cNvSpPr txBox="1"/>
          <p:nvPr/>
        </p:nvSpPr>
        <p:spPr>
          <a:xfrm>
            <a:off x="6095999" y="3429000"/>
            <a:ext cx="553853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FC aufgrund fehlender Kapazität in der Iteration verschieben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FC aufgrund von Kritik des Teams an Business zurückgeben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de-CH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FC aufteilen und zur neuen Aufbereitung an das Business zurückgeben.</a:t>
            </a:r>
            <a:endParaRPr lang="de-CH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2286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EA6C1E-87D9-9847-A878-FF4CC99556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8303" y="671915"/>
            <a:ext cx="10322853" cy="409798"/>
          </a:xfrm>
        </p:spPr>
        <p:txBody>
          <a:bodyPr/>
          <a:lstStyle/>
          <a:p>
            <a:r>
              <a:rPr lang="de-DE" dirty="0"/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2932444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PPTTYPE" val="EECPPT"/>
  <p:tag name="VARPOTVERSION" val="EEC1.6"/>
  <p:tag name="VARPPTGRIDMODE" val="EECgrid_hide"/>
  <p:tag name="VARPPTFOOTER" val="EECTitel / Anlass, Autor"/>
  <p:tag name="VARPPTFOOTERDATE" val="EEC29.06.2010"/>
  <p:tag name="VARPPTPLACE" val="EECOrt"/>
  <p:tag name="VARPPTAUTHOR" val="EECAutor / Vortragender / Projektgruppe / Anlass"/>
  <p:tag name="VARPPTTITLE" val="EECTitel der Präsentation"/>
  <p:tag name="VARPPTPROJECT" val="EECBezug / Projekt / Gremium"/>
  <p:tag name="VARPPTSETUPPERFORMED" val="EECTRUE"/>
  <p:tag name="VARPPTLOGOSEL" val="EEC4"/>
  <p:tag name="VARPPTCOLOGOSEL" val="EEC-1"/>
  <p:tag name="VARPPTLOGOHEADERSINGLELOGOFILENAME_DE" val="EECCoop_45_cmyk.wmf"/>
  <p:tag name="VARPPTLOGOHEADERSINGLELOGOFILENAME_FR" val="EECCoop_45_cmyk.wmf"/>
  <p:tag name="VARPPTLOGOHEADERSINGLELOGOFILENAME_IT" val="EECCoop_45_cmyk.wmf"/>
  <p:tag name="VARPPTLOGOHEADERSINGLELOGOFILENAME_EN" val="EECCoop_45_cmyk.wmf"/>
  <p:tag name="VARPPTLOGOHEADERPOSRIGHT" val="EEC34"/>
  <p:tag name="VARPPTLOGOHEADERPOSTOP" val="EEC85"/>
  <p:tag name="VARPPTLOGOFOOTERPOSBOTTOM" val="EEC519"/>
  <p:tag name="VARPPTLOGOHEADERCOLOGOFILENAMERIGHT_DE" val="EEC"/>
  <p:tag name="VARPPTLOGOHEADERCOLOGOFILENAMERIGHT_FR" val="EEC"/>
  <p:tag name="VARPPTLOGOHEADERCOLOGOFILENAMERIGHT_IT" val="EEC"/>
  <p:tag name="VARPPTLOGOHEADERCOLOGOFILENAMERIGHT_EN" val="EEC"/>
  <p:tag name="VARPPTLOGOHEADERCOLOGOFILENAMELEFT_DE" val="EEC"/>
  <p:tag name="VARPPTLOGOHEADERCOLOGOFILENAMELEFT_FR" val="EEC"/>
  <p:tag name="VARPPTLOGOHEADERCOLOGOFILENAMELEFT_IT" val="EEC"/>
  <p:tag name="VARPPTLOGOHEADERCOLOGOFILENAMELEFT_EN" val="EEC"/>
  <p:tag name="VARPPTLOGOFOOTERCOLOGOFILENAMERIGHT_DE" val="EEC"/>
  <p:tag name="VARPPTLOGOFOOTERCOLOGOFILENAMERIGHT_FR" val="EEC"/>
  <p:tag name="VARPPTLOGOFOOTERCOLOGOFILENAMERIGHT_IT" val="EEC"/>
  <p:tag name="VARPPTLOGOFOOTERCOLOGOFILENAMERIGHT_EN" val="EEC"/>
  <p:tag name="VARPPTLOGOFOOTERCOLOGOFILENAMELEFT_DE" val="EEC"/>
  <p:tag name="VARPPTLOGOFOOTERCOLOGOFILENAMELEFT_FR" val="EEC"/>
  <p:tag name="VARPPTLOGOFOOTERCOLOGOFILENAMELEFT_IT" val="EEC"/>
  <p:tag name="VARPPTLOGOFOOTERCOLOGOFILENAMELEFT_EN" val="EEC"/>
  <p:tag name="VARPPTLOGOFOOTERSINGLELOGOFILENAME_DE" val="EECCoop_20_cmyk.wmf"/>
  <p:tag name="VARPPTLOGOFOOTERSINGLELOGOFILENAME_FR" val="EECCoop_20_cmyk.wmf"/>
  <p:tag name="VARPPTLOGOFOOTERSINGLELOGOFILENAME_IT" val="EECCoop_20_cmyk.wmf"/>
  <p:tag name="VARPPTLOGOFOOTERSINGLELOGOFILENAME_EN" val="EECCoop_20_cmyk.wmf"/>
  <p:tag name="VARPPTLANGSEL" val="EEC0"/>
  <p:tag name="VARPPTLANG" val="EECGerman"/>
  <p:tag name="OAWWIZARDSTEPS" val="0|1|4"/>
  <p:tag name="ZOAWLANGID" val="2055"/>
  <p:tag name="OAWDOCPROPSOURCE" val="&lt;DocProps&gt;&lt;DocProp UID=&quot;2002122011014149059130932&quot; EntryUID=&quot;2010062814203817393765&quot;&gt;&lt;Field Name=&quot;IDName&quot; Value=&quot;Interdiscount&quot;/&gt;&lt;Field Name=&quot;Firma&quot; Value=&quot;Interdiscount&quot;/&gt;&lt;Field Name=&quot;Genossenschaft&quot; Value=&quot;&quot;/&gt;&lt;Field Name=&quot;GenossenschaftszusatzLinie1&quot; Value=&quot;Division der&quot;/&gt;&lt;Field Name=&quot;GenossenschaftszusatzLinie2&quot; Value=&quot;Coop Genossenschaft&quot;/&gt;&lt;Field Name=&quot;GenossenschaftszusatzLinie3&quot; Value=&quot;&quot;/&gt;&lt;Field Name=&quot;LogoColor&quot; Value=&quot;%Logos%\Interdiscount.Logo.Color.2100.300.wmf&quot;/&gt;&lt;Field Name=&quot;LogoBlackWhite&quot; Value=&quot;%Logos%\Interdiscount.Logo.BW.2100.300.wmf&quot;/&gt;&lt;Field Name=&quot;Internet&quot; Value=&quot;www.interdiscount.ch&quot;/&gt;&lt;Field Name=&quot;MWST&quot; Value=&quot;CHE-116.311.185 MWST&quot;/&gt;&lt;Field Name=&quot;LogoBlackWhiteLandscape&quot; Value=&quot;%Logos%\Interdiscount.Logo.BW.2970.300.wmf&quot;/&gt;&lt;Field Name=&quot;LogoColorLandscape&quot; Value=&quot;%Logos%\Interdiscount.Logo.Color.2970.300.wmf&quot;/&gt;&lt;Field Name=&quot;LogoPowerPointTitleSlide&quot; Value=&quot;%Logos%\PowerPoint\Interdiscount_Titelfolie.wmf&quot;/&gt;&lt;Field Name=&quot;LogoPowerPointFooter&quot; Value=&quot;%Logos%\PowerPoint\Interdiscount_Fusszeile.wmf&quot;/&gt;&lt;Field Name=&quot;Disclaimer&quot; Value=&quot;Division der Coop&quot;/&gt;&lt;Field Name=&quot;Data_UID&quot; Value=&quot;2010062814203817393765&quot;/&gt;&lt;Field Name=&quot;Field_Name&quot; Value=&quot;GenossenschaftszusatzLinie1&quot;/&gt;&lt;Field Name=&quot;Field_UID&quot; Value=&quot;20030218192839312933770742&quot;/&gt;&lt;Field Name=&quot;ML_LCID&quot; Value=&quot;2055&quot;/&gt;&lt;Field Name=&quot;ML_Value&quot; Value=&quot;Division der&quot;/&gt;&lt;/DocProp&gt;&lt;DocProp UID=&quot;2010042615333021260265&quot; EntryUID=&quot;2004123010144120300001&quot;&gt;&lt;Field Name=&quot;IDName&quot; Value=&quot;(Benutzerdefiniert)&quot;/&gt;&lt;Field Name=&quot;Vorname&quot; Value=&quot;Constantin&quot;/&gt;&lt;Field Name=&quot;Name&quot; Value=&quot;Hilt&quot;/&gt;&lt;Field Name=&quot;NameKomplett&quot; Value=&quot;Hilt Constantin&quot;/&gt;&lt;Field Name=&quot;Direktion&quot; Value=&quot;&quot;/&gt;&lt;Field Name=&quot;Organisationsbereich&quot; Value=&quot;&quot;/&gt;&lt;Field Name=&quot;Organisationseinheit&quot; Value=&quot;&quot;/&gt;&lt;Field Name=&quot;Abteilung&quot; Value=&quot;Direktion ID&quot;/&gt;&lt;Field Name=&quot;RegionHauptsitz&quot; Value=&quot;&quot;/&gt;&lt;Field Name=&quot;UserID&quot; Value=&quot;HILCO&quot;/&gt;&lt;Field Name=&quot;Titel&quot; Value=&quot;&quot;/&gt;&lt;Field Name=&quot;ManagementTitel&quot; Value=&quot;&quot;/&gt;&lt;Field Name=&quot;Funktion&quot; Value=&quot;&quot;/&gt;&lt;Field Name=&quot;Adresse&quot; Value=&quot;Bernstrasse 90&quot;/&gt;&lt;Field Name=&quot;Adresszusatz&quot; Value=&quot;&quot;/&gt;&lt;Field Name=&quot;Postleitzahl&quot; Value=&quot;3303&quot;/&gt;&lt;Field Name=&quot;Ort&quot; Value=&quot;Jegenstorf&quot;/&gt;&lt;Field Name=&quot;Land&quot; Value=&quot;Schweiz&quot;/&gt;&lt;Field Name=&quot;Direktwahl&quot; Value=&quot;+41 31 764 44 27&quot;/&gt;&lt;Field Name=&quot;Fax&quot; Value=&quot;+41 31 764 42 20&quot;/&gt;&lt;Field Name=&quot;Mobile&quot; Value=&quot;+41 78 744 90 15&quot;/&gt;&lt;Field Name=&quot;Email&quot; Value=&quot;Constantin.Hilt@interdiscount.ch&quot;/&gt;&lt;Field Name=&quot;Unterschrift&quot; Value=&quot;&quot;/&gt;&lt;/DocProp&gt;&lt;DocProp UID=&quot;200212191811121321310321301031x&quot; EntryUID=&quot;2010100413110893148656&quot;&gt;&lt;Field Name=&quot;IDName&quot; Value=&quot;Wenger Pierre - WEPID&quot;/&gt;&lt;Field Name=&quot;Vorname&quot; Value=&quot;Pierre&quot;/&gt;&lt;Field Name=&quot;Name&quot; Value=&quot;Wenger&quot;/&gt;&lt;Field Name=&quot;NameKomplett&quot; Value=&quot;Wenger Pierre&quot;/&gt;&lt;Field Name=&quot;Direktion&quot; Value=&quot;D2 Trading&quot;/&gt;&lt;Field Name=&quot;Organisationsbereich&quot; Value=&quot;Interdiscount&quot;/&gt;&lt;Field Name=&quot;Organisationseinheit&quot; Value=&quot;&quot;/&gt;&lt;Field Name=&quot;Abteilung&quot; Value=&quot;Interdiscount&quot;/&gt;&lt;Field Name=&quot;RegionHauptsitz&quot; Value=&quot;Bern&quot;/&gt;&lt;Field Name=&quot;UserID&quot; Value=&quot;WEPID&quot;/&gt;&lt;Field Name=&quot;Titel&quot; Value=&quot;&quot;/&gt;&lt;Field Name=&quot;ManagementTitel&quot; Value=&quot;&quot;/&gt;&lt;Field Name=&quot;Funktion&quot; Value=&quot;Leiter Interdiscount&quot;/&gt;&lt;Field Name=&quot;Adresse&quot; Value=&quot;Bernstrasse 90&quot;/&gt;&lt;Field Name=&quot;Adresszusatz&quot; Value=&quot;&quot;/&gt;&lt;Field Name=&quot;Postleitzahl&quot; Value=&quot;3303&quot;/&gt;&lt;Field Name=&quot;Ort&quot; Value=&quot;Jegenstorf&quot;/&gt;&lt;Field Name=&quot;Land&quot; Value=&quot;Schweiz&quot;/&gt;&lt;Field Name=&quot;Fax&quot; Value=&quot;+41 31 764 44 74&quot;/&gt;&lt;Field Name=&quot;Mobile&quot; Value=&quot;+41 78 636 38 15&quot;/&gt;&lt;Field Name=&quot;Email&quot; Value=&quot;Pierre.Wenger@interdiscount.ch&quot;/&gt;&lt;Field Name=&quot;Unterschrift&quot; Value=&quot;&quot;/&gt;&lt;Field Name=&quot;Direktwahl&quot; Value=&quot;+41 31 764 44 84&quot;/&gt;&lt;Field Name=&quot;Data_UID&quot; Value=&quot;2010100413110893148656&quot;/&gt;&lt;Field Name=&quot;Field_Name&quot; Value=&quot;Funktion&quot;/&gt;&lt;Field Name=&quot;Field_UID&quot; Value=&quot;20030218193544317182370664&quot;/&gt;&lt;Field Name=&quot;ML_LCID&quot; Value=&quot;2055&quot;/&gt;&lt;Field Name=&quot;ML_Value&quot; Value=&quot;Leiter Interdiscount&quot;/&gt;&lt;/DocProp&gt;&lt;DocProp UID=&quot;2002122010583847234010578&quot; EntryUID=&quot;2003121817293296325874&quot;&gt;&lt;Field Name=&quot;IDName&quot; Value=&quot;(Leer)&quot;/&gt;&lt;/DocProp&gt;&lt;DocProp UID=&quot;2003061115381095709037&quot; EntryUID=&quot;2003121817293296325874&quot;&gt;&lt;Field Name=&quot;IDName&quot; Value=&quot;(Leer)&quot;/&gt;&lt;/DocProp&gt;&lt;DocProp UID=&quot;2004112217333376588294&quot; EntryUID=&quot;2004123010144120300001&quot;&gt;&lt;Field UID=&quot;2010071616313160024822&quot; Name=&quot;PPLocationDate&quot; Value=&quot;Jegenstorf, 15.02.2013&quot;/&gt;&lt;Field UID=&quot;2010071616313204790203&quot; Name=&quot;PPFooter&quot; Value=&quot;Best Practice Amazom.com&quot;/&gt;&lt;/DocProp&gt;&lt;/DocProps&gt;&#10;"/>
  <p:tag name="EE4P_STYLE_ID" val="6cd991bf-f022-4378-96e7-2c338aeb3f5a"/>
  <p:tag name="THINKCELLUNDODONOTDELETE" val="0"/>
</p:tagLst>
</file>

<file path=ppt/theme/theme1.xml><?xml version="1.0" encoding="utf-8"?>
<a:theme xmlns:a="http://schemas.openxmlformats.org/drawingml/2006/main" name="blank">
  <a:themeElements>
    <a:clrScheme name="Benutzerdefiniert 3">
      <a:dk1>
        <a:srgbClr val="000000"/>
      </a:dk1>
      <a:lt1>
        <a:srgbClr val="FFFFFF"/>
      </a:lt1>
      <a:dk2>
        <a:srgbClr val="FF9914"/>
      </a:dk2>
      <a:lt2>
        <a:srgbClr val="CCCCCC"/>
      </a:lt2>
      <a:accent1>
        <a:srgbClr val="E30613"/>
      </a:accent1>
      <a:accent2>
        <a:srgbClr val="6BC5D3"/>
      </a:accent2>
      <a:accent3>
        <a:srgbClr val="F8F5C7"/>
      </a:accent3>
      <a:accent4>
        <a:srgbClr val="C77BA1"/>
      </a:accent4>
      <a:accent5>
        <a:srgbClr val="BFD9A4"/>
      </a:accent5>
      <a:accent6>
        <a:srgbClr val="E7E733"/>
      </a:accent6>
      <a:hlink>
        <a:srgbClr val="3999CC"/>
      </a:hlink>
      <a:folHlink>
        <a:srgbClr val="99CC3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CH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CH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FF9914"/>
        </a:dk2>
        <a:lt2>
          <a:srgbClr val="CCCCCC"/>
        </a:lt2>
        <a:accent1>
          <a:srgbClr val="FF6600"/>
        </a:accent1>
        <a:accent2>
          <a:srgbClr val="FFFF39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7E733"/>
        </a:accent6>
        <a:hlink>
          <a:srgbClr val="3999CC"/>
        </a:hlink>
        <a:folHlink>
          <a:srgbClr val="99CC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orlage_ID_150dpi.pptx [Schreibgeschützt]" id="{28299DBA-7B7E-4785-8230-CB27554D2520}" vid="{5F691B23-C1FA-4AF2-A3DC-C0A84BF26B65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2a7626c-403e-49b7-9f3c-d19d1931ad83">COOP029013-670072079-827</_dlc_DocId>
    <_dlc_DocIdUrl xmlns="52a7626c-403e-49b7-9f3c-d19d1931ad83">
      <Url>https://sharepoint.coop.ch/sites/85866cd6c8104d71ac6cebae5a07830d/d2c639d734914aaf930835c4ed7b8c65/_layouts/15/DocIdRedir.aspx?ID=COOP029013-670072079-827</Url>
      <Description>COOP029013-670072079-827</Description>
    </_dlc_DocIdUrl>
    <TaxCatchAll xmlns="3a920184-c7cb-422b-bd8a-f581432dcdf0"/>
    <Dokumentart_0 xmlns="3a920184-c7cb-422b-bd8a-f581432dcdf0">
      <Terms xmlns="http://schemas.microsoft.com/office/infopath/2007/PartnerControls"/>
    </Dokumentart_0>
  </documentManagement>
</p:properties>
</file>

<file path=customXml/item2.xml><?xml version="1.0" encoding="utf-8"?>
<LongProperties xmlns="http://schemas.microsoft.com/office/2006/metadata/longProperties"/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Projectdocument" ma:contentTypeID="0x010100E3341E2C5D6F48729CD5E623A8CCB51F00F1BB8487EA1A7544BE7145475AE69C74" ma:contentTypeVersion="4" ma:contentTypeDescription="Ein neues Dokument erstellen." ma:contentTypeScope="" ma:versionID="fdaa09da14ec18bc26c2ac349769de6b">
  <xsd:schema xmlns:xsd="http://www.w3.org/2001/XMLSchema" xmlns:xs="http://www.w3.org/2001/XMLSchema" xmlns:p="http://schemas.microsoft.com/office/2006/metadata/properties" xmlns:ns2="3a920184-c7cb-422b-bd8a-f581432dcdf0" xmlns:ns3="52a7626c-403e-49b7-9f3c-d19d1931ad83" targetNamespace="http://schemas.microsoft.com/office/2006/metadata/properties" ma:root="true" ma:fieldsID="84c1203ba7833fcec9f4c7b72cb018fc" ns2:_="" ns3:_="">
    <xsd:import namespace="3a920184-c7cb-422b-bd8a-f581432dcdf0"/>
    <xsd:import namespace="52a7626c-403e-49b7-9f3c-d19d1931ad83"/>
    <xsd:element name="properties">
      <xsd:complexType>
        <xsd:sequence>
          <xsd:element name="documentManagement">
            <xsd:complexType>
              <xsd:all>
                <xsd:element ref="ns2:Dokumentart_0" minOccurs="0"/>
                <xsd:element ref="ns2:TaxCatchAll" minOccurs="0"/>
                <xsd:element ref="ns2:TaxCatchAllLabel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20184-c7cb-422b-bd8a-f581432dcdf0" elementFormDefault="qualified">
    <xsd:import namespace="http://schemas.microsoft.com/office/2006/documentManagement/types"/>
    <xsd:import namespace="http://schemas.microsoft.com/office/infopath/2007/PartnerControls"/>
    <xsd:element name="Dokumentart_0" ma:index="8" nillable="true" ma:taxonomy="true" ma:internalName="Dokumentart_0" ma:taxonomyFieldName="Dokumentart" ma:displayName="Dokumentart" ma:fieldId="{e2165c43-35bf-4935-8116-c7c19c262bd0}" ma:sspId="eda88417-3483-4fed-b058-94d1cbc00fd7" ma:termSetId="a3909c1e-0e73-4ef8-9a02-f2db08b1af7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fc057341-8356-46e6-9280-959d205e551a}" ma:internalName="TaxCatchAll" ma:showField="CatchAllData" ma:web="52a7626c-403e-49b7-9f3c-d19d1931ad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fc057341-8356-46e6-9280-959d205e551a}" ma:internalName="TaxCatchAllLabel" ma:readOnly="true" ma:showField="CatchAllDataLabel" ma:web="52a7626c-403e-49b7-9f3c-d19d1931ad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a7626c-403e-49b7-9f3c-d19d1931ad83" elementFormDefault="qualified">
    <xsd:import namespace="http://schemas.microsoft.com/office/2006/documentManagement/types"/>
    <xsd:import namespace="http://schemas.microsoft.com/office/infopath/2007/PartnerControls"/>
    <xsd:element name="_dlc_DocId" ma:index="1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haredContentType xmlns="Microsoft.SharePoint.Taxonomy.ContentTypeSync" SourceId="eda88417-3483-4fed-b058-94d1cbc00fd7" ContentTypeId="0x010100E3341E2C5D6F48729CD5E623A8CCB51F" PreviousValue="false"/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2205B8E-30C3-457A-9472-2AF101AF9FF2}">
  <ds:schemaRefs>
    <ds:schemaRef ds:uri="3a920184-c7cb-422b-bd8a-f581432dcdf0"/>
    <ds:schemaRef ds:uri="52a7626c-403e-49b7-9f3c-d19d1931ad83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26AD39D-AD0F-4596-B8D6-61A6D41C38C0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3B041100-3350-47EC-A180-D71EA3BFF7C5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7428FCE-F9ED-48FC-B785-44F792A057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920184-c7cb-422b-bd8a-f581432dcdf0"/>
    <ds:schemaRef ds:uri="52a7626c-403e-49b7-9f3c-d19d1931ad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9B7D5E2B-B2C9-421C-9CF7-AFE2D406B21C}">
  <ds:schemaRefs>
    <ds:schemaRef ds:uri="Microsoft.SharePoint.Taxonomy.ContentTypeSync"/>
  </ds:schemaRefs>
</ds:datastoreItem>
</file>

<file path=customXml/itemProps6.xml><?xml version="1.0" encoding="utf-8"?>
<ds:datastoreItem xmlns:ds="http://schemas.openxmlformats.org/officeDocument/2006/customXml" ds:itemID="{4B677863-61FC-41F5-9B50-556D91A55B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8</Words>
  <Application>Microsoft Office PowerPoint</Application>
  <PresentationFormat>Breitbild</PresentationFormat>
  <Paragraphs>17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9" baseType="lpstr">
      <vt:lpstr>Arial</vt:lpstr>
      <vt:lpstr>Calibri</vt:lpstr>
      <vt:lpstr>Symbol</vt:lpstr>
      <vt:lpstr>blank</vt:lpstr>
      <vt:lpstr>Idealer Änderungsprozess</vt:lpstr>
      <vt:lpstr>Aktueller Änderungsprozess</vt:lpstr>
      <vt:lpstr>Verbesserung des Prozesses</vt:lpstr>
      <vt:lpstr>Ansatzpunkt Product Owner (PO)</vt:lpstr>
      <vt:lpstr>Vielen Dank für Ih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nge Management Interdiscount</dc:title>
  <dc:creator>Gomes Batista Laura</dc:creator>
  <cp:lastModifiedBy>valentin ehinger</cp:lastModifiedBy>
  <cp:revision>5</cp:revision>
  <cp:lastPrinted>2016-05-31T16:33:43Z</cp:lastPrinted>
  <dcterms:created xsi:type="dcterms:W3CDTF">2020-11-24T07:21:32Z</dcterms:created>
  <dcterms:modified xsi:type="dcterms:W3CDTF">2022-09-02T12:30:51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341E2C5D6F48729CD5E623A8CCB51F00F1BB8487EA1A7544BE7145475AE69C74</vt:lpwstr>
  </property>
  <property fmtid="{D5CDD505-2E9C-101B-9397-08002B2CF9AE}" pid="3" name="ContentType">
    <vt:lpwstr>Powerpoint</vt:lpwstr>
  </property>
  <property fmtid="{D5CDD505-2E9C-101B-9397-08002B2CF9AE}" pid="4" name="DocumentID">
    <vt:lpwstr/>
  </property>
  <property fmtid="{D5CDD505-2E9C-101B-9397-08002B2CF9AE}" pid="5" name="_dlc_DocId">
    <vt:lpwstr>COOP003188-13-738</vt:lpwstr>
  </property>
  <property fmtid="{D5CDD505-2E9C-101B-9397-08002B2CF9AE}" pid="6" name="_dlc_DocIdItemGuid">
    <vt:lpwstr>a0dbb6f4-b518-4c38-8ad9-d765a65adfb3</vt:lpwstr>
  </property>
  <property fmtid="{D5CDD505-2E9C-101B-9397-08002B2CF9AE}" pid="7" name="_dlc_DocIdUrl">
    <vt:lpwstr>https://sharepoint.coop.ch/sites/c24afb2f69e74fcf98706b0ba13d9d7a/7ccbcf7c4d4843c4a58d71acaaec1606/_layouts/15/DocIdRedir.aspx?ID=COOP003188-13-738, COOP003188-13-738</vt:lpwstr>
  </property>
  <property fmtid="{D5CDD505-2E9C-101B-9397-08002B2CF9AE}" pid="8" name="Dokumentart">
    <vt:lpwstr/>
  </property>
</Properties>
</file>